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theme/theme2.xml" ContentType="application/vnd.openxmlformats-officedocument.theme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theme/theme3.xml" ContentType="application/vnd.openxmlformats-officedocument.theme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5" r:id="rId5"/>
    <p:sldMasterId id="2147483706" r:id="rId6"/>
  </p:sldMasterIdLst>
  <p:notesMasterIdLst>
    <p:notesMasterId r:id="rId8"/>
  </p:notesMasterIdLst>
  <p:sldIdLst>
    <p:sldId id="5271" r:id="rId7"/>
  </p:sldIdLst>
  <p:sldSz cx="12192000" cy="6858000"/>
  <p:notesSz cx="6858000" cy="9144000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Laura Iles" initials="LI" lastIdx="1" clrIdx="0">
    <p:extLst>
      <p:ext uri="{19B8F6BF-5375-455C-9EA6-DF929625EA0E}">
        <p15:presenceInfo xmlns:p15="http://schemas.microsoft.com/office/powerpoint/2012/main" userId="S::liles@planview.com::b42ff3e7-b0d1-45a6-9dd4-8365faea2bc2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12D6E0"/>
    <a:srgbClr val="21213D"/>
    <a:srgbClr val="09AA61"/>
    <a:srgbClr val="FFA943"/>
    <a:srgbClr val="4297FC"/>
    <a:srgbClr val="680B18"/>
    <a:srgbClr val="EDE5E2"/>
    <a:srgbClr val="E2D8D5"/>
    <a:srgbClr val="AA182C"/>
    <a:srgbClr val="FF3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70" d="100"/>
          <a:sy n="70" d="100"/>
        </p:scale>
        <p:origin x="630" y="54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2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2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611734A3-B5D2-44D6-A9D4-421D8D20679D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EE3937C-E5EA-4078-AA2A-6A718E2751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6150178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228F64DC-CE81-4E98-B536-C4AA163BB175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9649106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4.bin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.png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jpeg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png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png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9.png"/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jpe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1.jpeg"/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2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5.png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2.emf"/><Relationship Id="rId4" Type="http://schemas.openxmlformats.org/officeDocument/2006/relationships/oleObject" Target="../embeddings/oleObject3.bin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B0D768-D9BF-4555-B246-BB0DE7ED4C7A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9391" y="2137814"/>
            <a:ext cx="9883896" cy="780598"/>
          </a:xfrm>
        </p:spPr>
        <p:txBody>
          <a:bodyPr wrap="square" anchor="b">
            <a:spAutoFit/>
          </a:bodyPr>
          <a:lstStyle>
            <a:lvl1pPr algn="l">
              <a:lnSpc>
                <a:spcPts val="4800"/>
              </a:lnSpc>
              <a:defRPr sz="3733" cap="none" baseline="0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391" y="3012258"/>
            <a:ext cx="9883895" cy="595099"/>
          </a:xfrm>
        </p:spPr>
        <p:txBody>
          <a:bodyPr anchor="b" anchorCtr="0">
            <a:spAutoFit/>
          </a:bodyPr>
          <a:lstStyle>
            <a:lvl1pPr marL="0" indent="0" algn="l">
              <a:buNone/>
              <a:defRPr sz="2667" spc="-67" baseline="0">
                <a:solidFill>
                  <a:schemeClr val="accent1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9395" y="3770903"/>
            <a:ext cx="5767916" cy="47198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chemeClr val="tx1"/>
                </a:solidFill>
              </a:defRPr>
            </a:lvl1pPr>
          </a:lstStyle>
          <a:p>
            <a:pPr lvl="0"/>
            <a:r>
              <a:rPr lang="en-US"/>
              <a:t>Presenter's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55F68B-B7A1-433D-98C7-51101DFE68D8}"/>
              </a:ext>
            </a:extLst>
          </p:cNvPr>
          <p:cNvSpPr txBox="1"/>
          <p:nvPr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19 PLANVIEW, INC.  // 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6520D1-A9C3-442A-9E33-8C6B162F65A6}"/>
              </a:ext>
            </a:extLst>
          </p:cNvPr>
          <p:cNvSpPr txBox="1"/>
          <p:nvPr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bg1"/>
                </a:solidFill>
              </a:rPr>
              <a:t>© 2020 PLANVIEW, INC.  //  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F14843-F73A-4540-BC67-FAA99224FB71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82504" y="621237"/>
            <a:ext cx="2389109" cy="65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9102339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2"/>
          <p:cNvSpPr>
            <a:spLocks noGrp="1"/>
          </p:cNvSpPr>
          <p:nvPr>
            <p:ph sz="quarter" idx="10"/>
          </p:nvPr>
        </p:nvSpPr>
        <p:spPr>
          <a:xfrm>
            <a:off x="10287000" y="1108252"/>
            <a:ext cx="1899522" cy="5172821"/>
          </a:xfrm>
          <a:noFill/>
          <a:ln>
            <a:noFill/>
          </a:ln>
          <a:effectLst/>
        </p:spPr>
        <p:txBody>
          <a:bodyPr anchor="ctr">
            <a:norm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11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05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92480" y="152400"/>
            <a:ext cx="10594848" cy="724205"/>
          </a:xfrm>
        </p:spPr>
        <p:txBody>
          <a:bodyPr/>
          <a:lstStyle>
            <a:lvl1pPr>
              <a:defRPr sz="4267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ECD54160-F5D2-4F21-8F58-525A151FFAB8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39258873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2658525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1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92481" y="1066800"/>
            <a:ext cx="9342120" cy="535833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92480" y="152400"/>
            <a:ext cx="10594848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4267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sz="quarter" idx="10"/>
          </p:nvPr>
        </p:nvSpPr>
        <p:spPr>
          <a:xfrm>
            <a:off x="10287000" y="1108252"/>
            <a:ext cx="1899522" cy="5172821"/>
          </a:xfrm>
          <a:noFill/>
          <a:ln>
            <a:noFill/>
          </a:ln>
          <a:effectLst/>
        </p:spPr>
        <p:txBody>
          <a:bodyPr anchor="ctr">
            <a:normAutofit/>
          </a:bodyPr>
          <a:lstStyle>
            <a:lvl1pPr>
              <a:defRPr sz="1200">
                <a:solidFill>
                  <a:schemeClr val="bg1">
                    <a:lumMod val="50000"/>
                  </a:schemeClr>
                </a:solidFill>
              </a:defRPr>
            </a:lvl1pPr>
            <a:lvl2pPr>
              <a:defRPr sz="1100">
                <a:solidFill>
                  <a:schemeClr val="bg1">
                    <a:lumMod val="50000"/>
                  </a:schemeClr>
                </a:solidFill>
              </a:defRPr>
            </a:lvl2pPr>
            <a:lvl3pPr>
              <a:defRPr sz="1050">
                <a:solidFill>
                  <a:schemeClr val="bg1">
                    <a:lumMod val="50000"/>
                  </a:schemeClr>
                </a:solidFill>
              </a:defRPr>
            </a:lvl3pPr>
            <a:lvl4pPr>
              <a:defRPr sz="1000">
                <a:solidFill>
                  <a:schemeClr val="bg1">
                    <a:lumMod val="50000"/>
                  </a:schemeClr>
                </a:solidFill>
              </a:defRPr>
            </a:lvl4pPr>
            <a:lvl5pPr>
              <a:defRPr sz="900">
                <a:solidFill>
                  <a:schemeClr val="bg1">
                    <a:lumMod val="50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56EA8904-8CF0-466D-B6EE-77353FED6F62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0070566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90600" y="152400"/>
            <a:ext cx="10007601" cy="724205"/>
          </a:xfrm>
        </p:spPr>
        <p:txBody>
          <a:bodyPr/>
          <a:lstStyle>
            <a:lvl1pPr>
              <a:defRPr sz="3840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5" name="Picture 4">
            <a:hlinkClick r:id="" action="ppaction://noaction"/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84872" y="6379765"/>
            <a:ext cx="1371971" cy="319648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61C833D2-31BF-4817-8660-49DB347414ED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35297243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RPM Toolkit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87681" y="692696"/>
            <a:ext cx="11283460" cy="512475"/>
          </a:xfrm>
        </p:spPr>
        <p:txBody>
          <a:bodyPr lIns="91440" rIns="91440">
            <a:noAutofit/>
          </a:bodyPr>
          <a:lstStyle>
            <a:lvl1pPr algn="l">
              <a:defRPr sz="2400">
                <a:solidFill>
                  <a:schemeClr val="tx1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87680" y="1268760"/>
            <a:ext cx="11224320" cy="5112568"/>
          </a:xfrm>
        </p:spPr>
        <p:txBody>
          <a:bodyPr lIns="91440" tIns="91440" rIns="91440" bIns="91440"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2000" spc="-31">
                <a:solidFill>
                  <a:schemeClr val="tx2">
                    <a:lumMod val="75000"/>
                  </a:schemeClr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800" spc="-31">
                <a:solidFill>
                  <a:schemeClr val="tx2">
                    <a:lumMod val="75000"/>
                  </a:schemeClr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600" spc="-31">
                <a:solidFill>
                  <a:schemeClr val="tx2">
                    <a:lumMod val="75000"/>
                  </a:schemeClr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600" spc="-31">
                <a:solidFill>
                  <a:schemeClr val="tx2">
                    <a:lumMod val="75000"/>
                  </a:schemeClr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spcAft>
                <a:spcPts val="600"/>
              </a:spcAft>
              <a:buClr>
                <a:schemeClr val="tx1">
                  <a:lumMod val="75000"/>
                </a:schemeClr>
              </a:buClr>
              <a:defRPr sz="1600" spc="-31">
                <a:solidFill>
                  <a:schemeClr val="tx2">
                    <a:lumMod val="7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53D7009B-E1DA-412F-B2F5-08F8AA85CDC4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46727035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8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3733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AD35598B-901B-4FF5-84A4-B01A286A22F8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525274517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0FD7E44F-55F9-3941-8260-F03068AFDA82}"/>
              </a:ext>
            </a:extLst>
          </p:cNvPr>
          <p:cNvSpPr/>
          <p:nvPr userDrawn="1"/>
        </p:nvSpPr>
        <p:spPr>
          <a:xfrm>
            <a:off x="9656956" y="6021658"/>
            <a:ext cx="2535043" cy="836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30F6FDE2-F4C3-0049-9FC3-602C225E1DA8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360983026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301086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780761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2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6F78A2F6-DAF5-E245-A2A6-E18020D255F9}"/>
              </a:ext>
            </a:extLst>
          </p:cNvPr>
          <p:cNvSpPr/>
          <p:nvPr userDrawn="1"/>
        </p:nvSpPr>
        <p:spPr>
          <a:xfrm>
            <a:off x="0" y="5482340"/>
            <a:ext cx="12192000" cy="1375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F5057AE0-A0D7-1E43-AF55-579FC00FE9EC}"/>
              </a:ext>
            </a:extLst>
          </p:cNvPr>
          <p:cNvSpPr/>
          <p:nvPr userDrawn="1"/>
        </p:nvSpPr>
        <p:spPr>
          <a:xfrm>
            <a:off x="0" y="-18237"/>
            <a:ext cx="12192000" cy="1375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0E66FC86-5F16-C843-A60C-6A4F7CC77EF0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E3499788-1593-1C4F-BE78-EED4B39BFFC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27107368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36FD87-3CAC-8749-876A-3964E2B814A0}"/>
              </a:ext>
            </a:extLst>
          </p:cNvPr>
          <p:cNvSpPr/>
          <p:nvPr userDrawn="1"/>
        </p:nvSpPr>
        <p:spPr>
          <a:xfrm>
            <a:off x="0" y="5472289"/>
            <a:ext cx="12192000" cy="137566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950968"/>
            <a:ext cx="9144000" cy="2387600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519433"/>
            <a:ext cx="9144000" cy="1277655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50C98A40-5227-E947-AE2F-A9E3771BADCA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D8835918-3AB0-2D45-AD13-47CE214009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91218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5DD1509B-C865-F546-BB66-3D16CB9BF55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F22D9E91-F622-6243-B5EC-D98B581002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789A9B99-16B2-2541-95C3-ABEC3B110C05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AE36FD87-3CAC-8749-876A-3964E2B814A0}"/>
              </a:ext>
            </a:extLst>
          </p:cNvPr>
          <p:cNvSpPr/>
          <p:nvPr userDrawn="1"/>
        </p:nvSpPr>
        <p:spPr>
          <a:xfrm>
            <a:off x="0" y="3429000"/>
            <a:ext cx="12192000" cy="3429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7828F8AC-8F13-5949-AA62-7265DF58727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640815"/>
            <a:ext cx="9144000" cy="1150258"/>
          </a:xfrm>
        </p:spPr>
        <p:txBody>
          <a:bodyPr anchor="b">
            <a:normAutofit/>
          </a:bodyPr>
          <a:lstStyle>
            <a:lvl1pPr algn="ctr">
              <a:defRPr sz="4000">
                <a:solidFill>
                  <a:schemeClr val="accent6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11B1F4F-4DF6-D842-9B58-3F782D3EAD1B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4883149"/>
            <a:ext cx="9144000" cy="1655762"/>
          </a:xfrm>
        </p:spPr>
        <p:txBody>
          <a:bodyPr/>
          <a:lstStyle>
            <a:lvl1pPr marL="0" indent="0" algn="ctr">
              <a:buNone/>
              <a:defRPr sz="2400">
                <a:solidFill>
                  <a:schemeClr val="accent6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A91B215-BDF8-2C44-82B7-527951ACEE57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B34B7D7E-8B9C-8843-A045-0AF0112ADADF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3978737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8A978C-11B5-654B-BF44-ABA2B24CF83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B373C0A-9B42-E046-9ED6-AD18BE932D8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bg1">
                    <a:lumMod val="9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70F52196-3088-B749-AC00-366713B53F5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5D03883-4E25-0A43-A42B-D1DBD17F4E69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FAD2E8B-4EB7-3142-B905-A31EB4D32B6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8954AD86-E519-2C41-BFFC-D67ACA5AAAA2}"/>
              </a:ext>
            </a:extLst>
          </p:cNvPr>
          <p:cNvSpPr/>
          <p:nvPr userDrawn="1"/>
        </p:nvSpPr>
        <p:spPr>
          <a:xfrm>
            <a:off x="9656956" y="6021658"/>
            <a:ext cx="2535043" cy="83634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D89BFF75-4FA3-104B-B3EB-96194C949FAD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r>
              <a:rPr lang="en-CA" sz="800" b="0" i="0" kern="1200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 Technologies Incorporated.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6676175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87D5BD-CD2D-4609-B803-1B176ADE0348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57839" y="6302125"/>
            <a:ext cx="1512612" cy="41664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1104" y="1341120"/>
            <a:ext cx="11253216" cy="508401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1ECB86-1682-413A-A21F-0ECE2BC5A85B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76781565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6343A6A-67E0-A848-8458-3809E66304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062F7D0F-7AAB-B640-8867-3AC44971CC7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4F07B4A-68A8-B64D-86A0-FA89061B7D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3392439C-F15F-EB42-AE17-A6115260E12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41184125-C7CE-294F-AB3B-49E3F03A85CE}"/>
              </a:ext>
            </a:extLst>
          </p:cNvPr>
          <p:cNvSpPr/>
          <p:nvPr userDrawn="1"/>
        </p:nvSpPr>
        <p:spPr>
          <a:xfrm>
            <a:off x="0" y="1241778"/>
            <a:ext cx="12192000" cy="493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66C665B-22D7-F34C-9B98-33CB0D5F49E3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AA05B8C4-195F-DF41-8CFA-D6348798451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1879757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79EF9C-E3D7-0247-ADE5-32E9E1E0F9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87665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7" name="Date Placeholder 6">
            <a:extLst>
              <a:ext uri="{FF2B5EF4-FFF2-40B4-BE49-F238E27FC236}">
                <a16:creationId xmlns:a16="http://schemas.microsoft.com/office/drawing/2014/main" id="{BEC98D36-FE85-DF40-977F-90657148836B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E737F600-EAA1-8A40-9E9E-DBBDBE01C41F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6F2CBC10-D931-9348-A745-5081BD6BDE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BB17C284-5D33-0942-8906-175C7CEDD9C2}"/>
              </a:ext>
            </a:extLst>
          </p:cNvPr>
          <p:cNvSpPr/>
          <p:nvPr userDrawn="1"/>
        </p:nvSpPr>
        <p:spPr>
          <a:xfrm>
            <a:off x="0" y="1241778"/>
            <a:ext cx="12191999" cy="49351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4BFF3A8D-55B9-DD4D-9D63-F9618284097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9D7F04C6-2ED5-EE4C-954E-398950467F0F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6F52389C-E499-C040-AB49-7441B5DB2B9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92674FCD-6816-E248-8C18-66A3AB59B5E3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063987771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2BBE1F-32F8-D145-AF8F-5620DD113E34}"/>
              </a:ext>
            </a:extLst>
          </p:cNvPr>
          <p:cNvSpPr/>
          <p:nvPr userDrawn="1"/>
        </p:nvSpPr>
        <p:spPr>
          <a:xfrm>
            <a:off x="0" y="365126"/>
            <a:ext cx="12192000" cy="581183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F3498-E93B-F940-914C-014AB1747C5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chemeClr val="accent6">
                    <a:lumMod val="75000"/>
                  </a:schemeClr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31FC4-10A0-A649-9BAD-288C8A16B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45F04B-0D4A-5B46-A274-E94D6CE667D3}"/>
              </a:ext>
            </a:extLst>
          </p:cNvPr>
          <p:cNvSpPr>
            <a:spLocks noGrp="1"/>
          </p:cNvSpPr>
          <p:nvPr>
            <p:ph idx="1"/>
          </p:nvPr>
        </p:nvSpPr>
        <p:spPr>
          <a:solidFill>
            <a:schemeClr val="bg1"/>
          </a:solidFill>
        </p:spPr>
        <p:txBody>
          <a:bodyPr/>
          <a:lstStyle>
            <a:lvl1pPr>
              <a:defRPr>
                <a:solidFill>
                  <a:schemeClr val="accent6"/>
                </a:solidFill>
              </a:defRPr>
            </a:lvl1pPr>
            <a:lvl2pPr>
              <a:defRPr>
                <a:solidFill>
                  <a:schemeClr val="accent6"/>
                </a:solidFill>
              </a:defRPr>
            </a:lvl2pPr>
            <a:lvl3pPr>
              <a:defRPr>
                <a:solidFill>
                  <a:schemeClr val="accent6"/>
                </a:solidFill>
              </a:defRPr>
            </a:lvl3pPr>
            <a:lvl4pPr>
              <a:defRPr>
                <a:solidFill>
                  <a:schemeClr val="accent6"/>
                </a:solidFill>
              </a:defRPr>
            </a:lvl4pPr>
            <a:lvl5pPr>
              <a:defRPr>
                <a:solidFill>
                  <a:schemeClr val="accent6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FA085-7EB8-E44F-8478-4E388B5BC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6B63B-762A-7D48-80A0-55E9E189D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6712908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>
            <a:extLst>
              <a:ext uri="{FF2B5EF4-FFF2-40B4-BE49-F238E27FC236}">
                <a16:creationId xmlns:a16="http://schemas.microsoft.com/office/drawing/2014/main" id="{BB2BBE1F-32F8-D145-AF8F-5620DD113E34}"/>
              </a:ext>
            </a:extLst>
          </p:cNvPr>
          <p:cNvSpPr/>
          <p:nvPr userDrawn="1"/>
        </p:nvSpPr>
        <p:spPr>
          <a:xfrm>
            <a:off x="360608" y="0"/>
            <a:ext cx="11831392" cy="61769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B8AF3498-E93B-F940-914C-014AB1747C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6653"/>
          </a:xfrm>
        </p:spPr>
        <p:txBody>
          <a:bodyPr/>
          <a:lstStyle>
            <a:lvl1pPr>
              <a:defRPr b="1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6E331FC4-10A0-A649-9BAD-288C8A16B225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B45F04B-0D4A-5B46-A274-E94D6CE667D3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>
            <a:lvl1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buClrTx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2pPr>
            <a:lvl3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buClrTx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4pPr>
            <a:lvl5pPr>
              <a:defRPr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28FA085-7EB8-E44F-8478-4E388B5BC390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B7D6B63B-762A-7D48-80A0-55E9E189D0A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5760693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>
            <a:extLst>
              <a:ext uri="{FF2B5EF4-FFF2-40B4-BE49-F238E27FC236}">
                <a16:creationId xmlns:a16="http://schemas.microsoft.com/office/drawing/2014/main" id="{2C4518E2-6FF2-5348-989A-606F787C4CF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9EB82246-3DB8-0547-9041-0A815396655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58D6DF24-FCC3-CF41-B371-C652C778B1D0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46545974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4FE740F-ACFB-3843-977F-C4D36386530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4BEC360C-873E-D442-A02C-B8AB0AB6CF95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30643B63-3957-4449-A47D-7A69D93D196F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A1B394AB-FF1C-A445-BECD-08006FE5D0FA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8B958DC2-A3B8-0342-9097-BD58B95F94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BD51D17D-6E69-2C45-9E1E-5D7A5FEECB5A}"/>
              </a:ext>
            </a:extLst>
          </p:cNvPr>
          <p:cNvSpPr/>
          <p:nvPr userDrawn="1"/>
        </p:nvSpPr>
        <p:spPr>
          <a:xfrm>
            <a:off x="4772025" y="-7145"/>
            <a:ext cx="7500938" cy="61936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D260B76-8859-8240-A9C3-E9EBE5FDF463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>
                <a:solidFill>
                  <a:schemeClr val="tx1">
                    <a:lumMod val="85000"/>
                    <a:lumOff val="15000"/>
                  </a:schemeClr>
                </a:solidFill>
              </a:defRPr>
            </a:lvl1pPr>
            <a:lvl2pPr>
              <a:defRPr sz="2800">
                <a:solidFill>
                  <a:schemeClr val="tx1">
                    <a:lumMod val="85000"/>
                    <a:lumOff val="15000"/>
                  </a:schemeClr>
                </a:solidFill>
              </a:defRPr>
            </a:lvl2pPr>
            <a:lvl3pPr>
              <a:defRPr sz="2400">
                <a:solidFill>
                  <a:schemeClr val="tx1">
                    <a:lumMod val="85000"/>
                    <a:lumOff val="15000"/>
                  </a:schemeClr>
                </a:solidFill>
              </a:defRPr>
            </a:lvl3pPr>
            <a:lvl4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4pPr>
            <a:lvl5pPr>
              <a:defRPr sz="2000">
                <a:solidFill>
                  <a:schemeClr val="tx1">
                    <a:lumMod val="85000"/>
                    <a:lumOff val="15000"/>
                  </a:schemeClr>
                </a:solidFill>
              </a:defRPr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7770236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 descr="A picture containing outdoor object, web&#10;&#10;Description automatically generated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8793"/>
            <a:ext cx="7420380" cy="5619600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2606244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1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72024" y="-7146"/>
            <a:ext cx="7420380" cy="561234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60105623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4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7145"/>
            <a:ext cx="7420380" cy="5612345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60225327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5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83"/>
          <a:stretch/>
        </p:blipFill>
        <p:spPr>
          <a:xfrm>
            <a:off x="4772024" y="-7146"/>
            <a:ext cx="7420380" cy="56216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392" y="5608092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216203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AC0CF717-0C85-45A7-8B1D-A66DF90C7B21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726948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1104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600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95036A1-77D1-47DA-BE24-1917EC313DA4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BCEDB77C-D07A-4E3C-979A-82EB0E8B4019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176193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6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7146"/>
            <a:ext cx="7420380" cy="5621676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392" y="5608181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08978075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7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0"/>
            <a:ext cx="7420380" cy="56216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392" y="5608181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32164449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3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772024" y="-7145"/>
            <a:ext cx="7420380" cy="5621677"/>
          </a:xfrm>
          <a:prstGeom prst="rect">
            <a:avLst/>
          </a:prstGeom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4161D5FD-143F-854E-89B4-DA9C08AE9297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09142770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2_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482B9A16-C8DF-BD46-BB0E-0F6DC3C77375}"/>
              </a:ext>
            </a:extLst>
          </p:cNvPr>
          <p:cNvSpPr/>
          <p:nvPr userDrawn="1"/>
        </p:nvSpPr>
        <p:spPr>
          <a:xfrm>
            <a:off x="4772025" y="-7145"/>
            <a:ext cx="7500938" cy="562167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n>
                <a:noFill/>
              </a:ln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66D1DA9-7523-9844-B73D-0551DED6744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>
            <a:normAutofit/>
          </a:bodyPr>
          <a:lstStyle>
            <a:lvl1pPr>
              <a:defRPr sz="4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792A7B3B-E970-A944-80FD-AA6CC85B5AF3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 marL="0" indent="0">
              <a:buNone/>
              <a:defRPr sz="3200">
                <a:solidFill>
                  <a:schemeClr val="tx1"/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/>
              <a:t>Click icon to add picture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6241C8D-8F60-5B4B-B615-956F19773096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>
            <a:extLst>
              <a:ext uri="{FF2B5EF4-FFF2-40B4-BE49-F238E27FC236}">
                <a16:creationId xmlns:a16="http://schemas.microsoft.com/office/drawing/2014/main" id="{A7325DA8-8ABC-934D-BF1C-C6EA3E1B978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172C171-5DE3-464E-9733-25B3C2B04C2E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6A3310E2-9EA1-6A4C-8824-57E0A417CB0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78F013C6-3B53-0D4A-86C1-64E0C9F1474C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-564"/>
          <a:stretch/>
        </p:blipFill>
        <p:spPr>
          <a:xfrm>
            <a:off x="4772025" y="0"/>
            <a:ext cx="7488472" cy="5605200"/>
          </a:xfrm>
          <a:prstGeom prst="rect">
            <a:avLst/>
          </a:prstGeom>
        </p:spPr>
      </p:pic>
      <p:sp>
        <p:nvSpPr>
          <p:cNvPr id="9" name="Rectangle 8">
            <a:extLst>
              <a:ext uri="{FF2B5EF4-FFF2-40B4-BE49-F238E27FC236}">
                <a16:creationId xmlns:a16="http://schemas.microsoft.com/office/drawing/2014/main" id="{F758E99D-48B1-F44C-80AF-2F938A82F1E0}"/>
              </a:ext>
            </a:extLst>
          </p:cNvPr>
          <p:cNvSpPr/>
          <p:nvPr userDrawn="1"/>
        </p:nvSpPr>
        <p:spPr>
          <a:xfrm>
            <a:off x="-45076" y="5605200"/>
            <a:ext cx="12237076" cy="441431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0264112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T-Light Title, Logo and Copy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285757"/>
            <a:ext cx="12192000" cy="676276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4267" b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Content Placeholder 2"/>
          <p:cNvSpPr>
            <a:spLocks noGrp="1"/>
          </p:cNvSpPr>
          <p:nvPr>
            <p:ph idx="1"/>
          </p:nvPr>
        </p:nvSpPr>
        <p:spPr>
          <a:xfrm>
            <a:off x="487680" y="1060780"/>
            <a:ext cx="11216640" cy="5223907"/>
          </a:xfrm>
          <a:prstGeom prst="rect">
            <a:avLst/>
          </a:prstGeom>
          <a:noFill/>
        </p:spPr>
        <p:txBody>
          <a:bodyPr/>
          <a:lstStyle>
            <a:lvl1pPr marL="12700" indent="-12700">
              <a:buClr>
                <a:srgbClr val="82BC00"/>
              </a:buClr>
              <a:buSzPct val="25000"/>
              <a:tabLst/>
              <a:defRPr lang="en-US" altLang="en-US" sz="3467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1pPr>
            <a:lvl2pPr marL="543970" indent="-402157">
              <a:buClr>
                <a:srgbClr val="DCE0E4"/>
              </a:buClr>
              <a:buSzPct val="100000"/>
              <a:buFontTx/>
              <a:buBlip>
                <a:blip r:embed="rId2"/>
              </a:buBlip>
              <a:tabLst/>
              <a:defRPr lang="en-US" altLang="en-US" sz="2400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2pPr>
            <a:lvl3pPr marL="1075240" indent="-387341">
              <a:buClr>
                <a:schemeClr val="accent1"/>
              </a:buClr>
              <a:buSzPct val="100000"/>
              <a:buFont typeface="Courier New" charset="0"/>
              <a:buChar char="o"/>
              <a:tabLst/>
              <a:defRPr lang="en-US" altLang="en-US" sz="2133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3pPr>
            <a:lvl4pPr marL="1606511" indent="-302676">
              <a:buClr>
                <a:schemeClr val="accent1"/>
              </a:buClr>
              <a:buSzPct val="100000"/>
              <a:buFont typeface="Wingdings" charset="2"/>
              <a:buChar char="§"/>
              <a:tabLst/>
              <a:defRPr lang="en-US" altLang="en-US" sz="2000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4pPr>
            <a:lvl5pPr marL="2137780" indent="-315376">
              <a:buClr>
                <a:schemeClr val="accent2"/>
              </a:buClr>
              <a:buSzPct val="100000"/>
              <a:buFont typeface="Arial" charset="0"/>
              <a:buChar char="•"/>
              <a:tabLst/>
              <a:defRPr lang="en-US" altLang="en-US" sz="2000" b="0" i="0" kern="1200" dirty="0" smtClean="0">
                <a:solidFill>
                  <a:schemeClr val="tx2"/>
                </a:solidFill>
                <a:effectLst/>
                <a:latin typeface="Lato" panose="020F0502020204030203" pitchFamily="34" charset="0"/>
                <a:ea typeface="Lato" panose="020F0502020204030203" pitchFamily="34" charset="0"/>
                <a:cs typeface="Lato" panose="020F0502020204030203" pitchFamily="34" charset="0"/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779057683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250">
        <p:fade/>
      </p:transition>
    </mc:Choice>
    <mc:Fallback xmlns="">
      <p:transition>
        <p:fade/>
      </p:transition>
    </mc:Fallback>
  </mc:AlternateConten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lank with Log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1"/>
          <p:cNvSpPr>
            <a:spLocks noGrp="1"/>
          </p:cNvSpPr>
          <p:nvPr>
            <p:ph type="title"/>
          </p:nvPr>
        </p:nvSpPr>
        <p:spPr>
          <a:xfrm>
            <a:off x="0" y="285757"/>
            <a:ext cx="12192000" cy="676276"/>
          </a:xfrm>
        </p:spPr>
        <p:txBody>
          <a:bodyPr>
            <a:noAutofit/>
          </a:bodyPr>
          <a:lstStyle>
            <a:lvl1pPr>
              <a:defRPr sz="4267" b="1" i="0">
                <a:solidFill>
                  <a:schemeClr val="tx1">
                    <a:lumMod val="75000"/>
                    <a:lumOff val="25000"/>
                  </a:schemeClr>
                </a:solidFill>
                <a:effectLst/>
                <a:latin typeface="Arial" charset="0"/>
                <a:ea typeface="Arial" charset="0"/>
                <a:cs typeface="Arial" charset="0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48589101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>
            <a:extLst>
              <a:ext uri="{FF2B5EF4-FFF2-40B4-BE49-F238E27FC236}">
                <a16:creationId xmlns:a16="http://schemas.microsoft.com/office/drawing/2014/main" id="{3CB0D768-D9BF-4555-B246-BB0DE7ED4C7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" y="0"/>
            <a:ext cx="12191999" cy="68580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759391" y="1657910"/>
            <a:ext cx="9883896" cy="780598"/>
          </a:xfrm>
        </p:spPr>
        <p:txBody>
          <a:bodyPr wrap="square" anchor="b">
            <a:spAutoFit/>
          </a:bodyPr>
          <a:lstStyle>
            <a:lvl1pPr algn="l">
              <a:lnSpc>
                <a:spcPts val="4800"/>
              </a:lnSpc>
              <a:defRPr sz="3733" b="0" cap="none" baseline="0">
                <a:solidFill>
                  <a:srgbClr val="1A1B2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759391" y="2532355"/>
            <a:ext cx="9883895" cy="595099"/>
          </a:xfrm>
        </p:spPr>
        <p:txBody>
          <a:bodyPr anchor="b" anchorCtr="0">
            <a:spAutoFit/>
          </a:bodyPr>
          <a:lstStyle>
            <a:lvl1pPr marL="0" indent="0" algn="l">
              <a:buNone/>
              <a:defRPr sz="2667" spc="-67" baseline="0">
                <a:solidFill>
                  <a:srgbClr val="1A1B2F"/>
                </a:solidFill>
                <a:latin typeface="+mn-lt"/>
              </a:defRPr>
            </a:lvl1pPr>
            <a:lvl2pPr marL="60958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21917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82875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43833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304792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6575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426709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87667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10" hasCustomPrompt="1"/>
          </p:nvPr>
        </p:nvSpPr>
        <p:spPr>
          <a:xfrm>
            <a:off x="759395" y="3770903"/>
            <a:ext cx="5767916" cy="471989"/>
          </a:xfrm>
        </p:spPr>
        <p:txBody>
          <a:bodyPr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None/>
              <a:defRPr sz="1867">
                <a:solidFill>
                  <a:srgbClr val="1A1B2F"/>
                </a:solidFill>
              </a:defRPr>
            </a:lvl1pPr>
          </a:lstStyle>
          <a:p>
            <a:pPr lvl="0"/>
            <a:r>
              <a:rPr lang="en-US"/>
              <a:t>Presenter's Nam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3F55F68B-B7A1-433D-98C7-51101DFE68D8}"/>
              </a:ext>
            </a:extLst>
          </p:cNvPr>
          <p:cNvSpPr txBox="1"/>
          <p:nvPr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19 PLANVIEW, INC.  //  CONFIDENTIAL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546520D1-A9C3-442A-9E33-8C6B162F65A6}"/>
              </a:ext>
            </a:extLst>
          </p:cNvPr>
          <p:cNvSpPr txBox="1"/>
          <p:nvPr userDrawn="1"/>
        </p:nvSpPr>
        <p:spPr>
          <a:xfrm>
            <a:off x="125793" y="6492909"/>
            <a:ext cx="2898486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bg1"/>
                </a:solidFill>
              </a:rPr>
              <a:t>© 2021 PLANVIEW, INC.  //  CONFIDENTIAL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AF14843-F73A-4540-BC67-FAA99224FB71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9186539" y="621237"/>
            <a:ext cx="2381040" cy="6580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9041527"/>
      </p:ext>
    </p:extLst>
  </p:cSld>
  <p:clrMapOvr>
    <a:masterClrMapping/>
  </p:clrMapOvr>
  <p:hf hdr="0" dt="0"/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>
            <a:extLst>
              <a:ext uri="{FF2B5EF4-FFF2-40B4-BE49-F238E27FC236}">
                <a16:creationId xmlns:a16="http://schemas.microsoft.com/office/drawing/2014/main" id="{2B87D5BD-CD2D-4609-B803-1B176ADE0348}"/>
              </a:ext>
            </a:extLst>
          </p:cNvPr>
          <p:cNvPicPr>
            <a:picLocks noChangeAspect="1"/>
          </p:cNvPicPr>
          <p:nvPr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451104" y="1341120"/>
            <a:ext cx="11253216" cy="508401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A31ECB86-1682-413A-A21F-0ECE2BC5A85B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853012097"/>
      </p:ext>
    </p:extLst>
  </p:cSld>
  <p:clrMapOvr>
    <a:masterClrMapping/>
  </p:clrMapOvr>
  <p:hf hdr="0" dt="0"/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9"/>
            <a:ext cx="11253216" cy="726948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1104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53600" y="1341121"/>
            <a:ext cx="5486400" cy="4658404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 spc="-4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 spc="-4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 spc="-4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1867" spc="-40">
                <a:solidFill>
                  <a:schemeClr val="tx1"/>
                </a:solidFill>
              </a:defRPr>
            </a:lvl5pPr>
            <a:lvl6pPr>
              <a:defRPr sz="2400"/>
            </a:lvl6pPr>
            <a:lvl7pPr>
              <a:defRPr sz="2400"/>
            </a:lvl7pPr>
            <a:lvl8pPr>
              <a:defRPr sz="2400"/>
            </a:lvl8pPr>
            <a:lvl9pPr>
              <a:defRPr sz="2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86F1E00D-3DB2-4BFA-88C5-4AA558D4FD3A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14408BD-6B5C-41E8-8F47-3883FA455FB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08081073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04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440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3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440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22C12EFA-D39F-4530-9A84-F1EA94BA7696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BD7776C4-72AD-4179-A5FE-5D65FA8AA0C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30520582"/>
      </p:ext>
    </p:extLst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AF1B4925-0429-4F50-88D7-9B358DBB79E5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3200" b="0">
                <a:solidFill>
                  <a:schemeClr val="tx1"/>
                </a:solidFill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1104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253440" y="1341120"/>
            <a:ext cx="5486400" cy="639763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3200" b="0" kern="1200" dirty="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85" indent="0">
              <a:buNone/>
              <a:defRPr sz="2667" b="1"/>
            </a:lvl2pPr>
            <a:lvl3pPr marL="1219170" indent="0">
              <a:buNone/>
              <a:defRPr sz="2400" b="1"/>
            </a:lvl3pPr>
            <a:lvl4pPr marL="1828754" indent="0">
              <a:buNone/>
              <a:defRPr sz="2133" b="1"/>
            </a:lvl4pPr>
            <a:lvl5pPr marL="2438339" indent="0">
              <a:buNone/>
              <a:defRPr sz="2133" b="1"/>
            </a:lvl5pPr>
            <a:lvl6pPr marL="3047924" indent="0">
              <a:buNone/>
              <a:defRPr sz="2133" b="1"/>
            </a:lvl6pPr>
            <a:lvl7pPr marL="3657509" indent="0">
              <a:buNone/>
              <a:defRPr sz="2133" b="1"/>
            </a:lvl7pPr>
            <a:lvl8pPr marL="4267093" indent="0">
              <a:buNone/>
              <a:defRPr sz="2133" b="1"/>
            </a:lvl8pPr>
            <a:lvl9pPr marL="4876678" indent="0">
              <a:buNone/>
              <a:defRPr sz="2133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253440" y="2072640"/>
            <a:ext cx="5486400" cy="4461840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32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667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0"/>
              </a:spcAft>
              <a:defRPr sz="2133">
                <a:solidFill>
                  <a:schemeClr val="tx1"/>
                </a:solidFill>
              </a:defRPr>
            </a:lvl5pPr>
            <a:lvl6pPr>
              <a:defRPr sz="2133"/>
            </a:lvl6pPr>
            <a:lvl7pPr>
              <a:defRPr sz="2133"/>
            </a:lvl7pPr>
            <a:lvl8pPr>
              <a:defRPr sz="2133"/>
            </a:lvl8pPr>
            <a:lvl9pPr>
              <a:defRPr sz="2133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C64C9E9F-23D7-4B20-B42C-5056A727FDD6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165904149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037ABC85-44CE-4DCF-9DA4-313F2C31A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8258D847-B7BE-4BB8-A108-0CB419C4AC4E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55904" y="3608833"/>
            <a:ext cx="7177133" cy="595099"/>
          </a:xfrm>
        </p:spPr>
        <p:txBody>
          <a:bodyPr lIns="91440" tIns="91440" rIns="91440" bIns="91440">
            <a:sp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None/>
              <a:defRPr sz="2667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55905" y="2596895"/>
            <a:ext cx="7498409" cy="865632"/>
          </a:xfrm>
          <a:prstGeom prst="rect">
            <a:avLst/>
          </a:prstGeom>
        </p:spPr>
        <p:txBody>
          <a:bodyPr vert="horz" lIns="91440" tIns="91440" rIns="91440" bIns="91440" rtlCol="0" anchor="b" anchorCtr="0">
            <a:noAutofit/>
          </a:bodyPr>
          <a:lstStyle>
            <a:lvl1pPr algn="l">
              <a:defRPr sz="3733" b="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A3BF102A-0201-421D-B639-5528C6F8FABC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438699731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8BED3C35-83A2-4DF2-9463-7FB5BE37903A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9FA197C9-2C28-48CA-9F19-01FB76FA153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475925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extBox 6">
            <a:extLst>
              <a:ext uri="{FF2B5EF4-FFF2-40B4-BE49-F238E27FC236}">
                <a16:creationId xmlns:a16="http://schemas.microsoft.com/office/drawing/2014/main" id="{C19EF22D-A13E-43AA-85AF-259A7E2F0540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1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2171F6BC-E62A-4671-9BFF-C93F53A33A81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hq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10360392" y="6302125"/>
            <a:ext cx="1507504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9594174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8258D847-B7BE-4BB8-A108-0CB419C4AC4E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pic>
        <p:nvPicPr>
          <p:cNvPr id="3" name="Picture 2">
            <a:extLst>
              <a:ext uri="{FF2B5EF4-FFF2-40B4-BE49-F238E27FC236}">
                <a16:creationId xmlns:a16="http://schemas.microsoft.com/office/drawing/2014/main" id="{037ABC85-44CE-4DCF-9DA4-313F2C31AB1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6337301" y="0"/>
            <a:ext cx="5854700" cy="6858000"/>
          </a:xfrm>
          <a:prstGeom prst="rect">
            <a:avLst/>
          </a:prstGeom>
        </p:spPr>
      </p:pic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55904" y="3608833"/>
            <a:ext cx="7177133" cy="595099"/>
          </a:xfrm>
        </p:spPr>
        <p:txBody>
          <a:bodyPr lIns="91440" tIns="91440" rIns="91440" bIns="91440">
            <a:spAutoFit/>
          </a:bodyPr>
          <a:lstStyle>
            <a:lvl1pPr marL="0" indent="0" algn="l"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buNone/>
              <a:defRPr sz="2667" spc="-4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55905" y="2596895"/>
            <a:ext cx="7498409" cy="865632"/>
          </a:xfrm>
          <a:prstGeom prst="rect">
            <a:avLst/>
          </a:prstGeom>
        </p:spPr>
        <p:txBody>
          <a:bodyPr vert="horz" lIns="91440" tIns="91440" rIns="91440" bIns="91440" rtlCol="0" anchor="b" anchorCtr="0">
            <a:noAutofit/>
          </a:bodyPr>
          <a:lstStyle>
            <a:lvl1pPr algn="l"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3C1D85B-84CE-4DA9-84BC-8985E23599B4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377906006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</p:spPr>
        <p:txBody>
          <a:bodyPr/>
          <a:lstStyle>
            <a:lvl1pPr>
              <a:defRPr sz="3733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99B08F74-FBFE-42F8-B9A7-50325120A299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6" name="TextBox 5">
            <a:extLst>
              <a:ext uri="{FF2B5EF4-FFF2-40B4-BE49-F238E27FC236}">
                <a16:creationId xmlns:a16="http://schemas.microsoft.com/office/drawing/2014/main" id="{355B1E69-6EA2-47D0-B56C-F93A9FEBCB9F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DB7D3B55-930B-4B21-9C7B-B563F6387E85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AA0E5BF5-9240-49C9-A863-94BAF93A263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9543740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1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AA0E5BF5-9240-49C9-A863-94BAF93A26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9656588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3277C295-5258-473E-9821-BDA771A36C2E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092C8391-C2DA-4534-8A48-C73A58FE23E3}"/>
              </a:ext>
            </a:extLst>
          </p:cNvPr>
          <p:cNvSpPr txBox="1"/>
          <p:nvPr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305C9632-A518-400B-A7AE-0637050665DC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338487" y="6282773"/>
            <a:ext cx="1512612" cy="416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8888688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614863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9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92480" y="1066800"/>
            <a:ext cx="10611283" cy="535833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92480" y="152400"/>
            <a:ext cx="10594848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 sz="4267"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C3773E5C-36B5-4253-9F57-C2B6963860FC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490836848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ontent Placeholder 2"/>
          <p:cNvSpPr>
            <a:spLocks noGrp="1"/>
          </p:cNvSpPr>
          <p:nvPr>
            <p:ph idx="1"/>
          </p:nvPr>
        </p:nvSpPr>
        <p:spPr>
          <a:xfrm>
            <a:off x="792480" y="1341120"/>
            <a:ext cx="10611283" cy="5084016"/>
          </a:xfrm>
        </p:spPr>
        <p:txBody>
          <a:bodyPr lIns="91440" tIns="91440" rIns="91440" bIns="91440"/>
          <a:lstStyle>
            <a:lvl1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1pPr>
            <a:lvl2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pc="-40">
                <a:solidFill>
                  <a:srgbClr val="515151"/>
                </a:solidFill>
              </a:defRPr>
            </a:lvl2pPr>
            <a:lvl3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400" spc="-40">
                <a:solidFill>
                  <a:srgbClr val="515151"/>
                </a:solidFill>
              </a:defRPr>
            </a:lvl3pPr>
            <a:lvl4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2133" spc="-40">
                <a:solidFill>
                  <a:srgbClr val="515151"/>
                </a:solidFill>
              </a:defRPr>
            </a:lvl4pPr>
            <a:lvl5pPr>
              <a:lnSpc>
                <a:spcPct val="100000"/>
              </a:lnSpc>
              <a:spcBef>
                <a:spcPts val="800"/>
              </a:spcBef>
              <a:spcAft>
                <a:spcPts val="800"/>
              </a:spcAft>
              <a:buClr>
                <a:schemeClr val="tx1">
                  <a:lumMod val="75000"/>
                </a:schemeClr>
              </a:buClr>
              <a:defRPr sz="1867" spc="-40">
                <a:solidFill>
                  <a:srgbClr val="51515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1" name="Title Placeholder 1"/>
          <p:cNvSpPr>
            <a:spLocks noGrp="1"/>
          </p:cNvSpPr>
          <p:nvPr>
            <p:ph type="title"/>
          </p:nvPr>
        </p:nvSpPr>
        <p:spPr>
          <a:xfrm>
            <a:off x="792480" y="384049"/>
            <a:ext cx="10594848" cy="699516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>
            <a:lvl1pPr>
              <a:defRPr>
                <a:solidFill>
                  <a:srgbClr val="51515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555059" y="6377469"/>
            <a:ext cx="1431597" cy="33761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1D89503A-A58C-44B1-9688-1B379EB4CEFB}"/>
              </a:ext>
            </a:extLst>
          </p:cNvPr>
          <p:cNvSpPr txBox="1"/>
          <p:nvPr userDrawn="1"/>
        </p:nvSpPr>
        <p:spPr>
          <a:xfrm>
            <a:off x="125793" y="6492909"/>
            <a:ext cx="3399264" cy="215444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800" spc="133" baseline="0">
                <a:solidFill>
                  <a:schemeClr val="accent1"/>
                </a:solidFill>
              </a:rPr>
              <a:t>© 2020 PLANVIEW, INC.  //  CONFIDENTIAL  //  </a:t>
            </a:r>
            <a:fld id="{76BA2F34-BB44-4E0A-B2F1-0EA6499A13DF}" type="slidenum">
              <a:rPr lang="en-US" sz="800" spc="133" baseline="0" smtClean="0">
                <a:solidFill>
                  <a:schemeClr val="accent1"/>
                </a:solidFill>
              </a:rPr>
              <a:pPr/>
              <a:t>‹#›</a:t>
            </a:fld>
            <a:r>
              <a:rPr lang="en-US" sz="800" spc="133" baseline="0">
                <a:solidFill>
                  <a:schemeClr val="accent1"/>
                </a:solidFill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95821145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vmlDrawing" Target="../drawings/vmlDrawing1.v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2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slideLayout" Target="../slideLayouts/slideLayout27.xml"/><Relationship Id="rId18" Type="http://schemas.openxmlformats.org/officeDocument/2006/relationships/slideLayout" Target="../slideLayouts/slideLayout32.xml"/><Relationship Id="rId3" Type="http://schemas.openxmlformats.org/officeDocument/2006/relationships/slideLayout" Target="../slideLayouts/slideLayout17.xml"/><Relationship Id="rId21" Type="http://schemas.openxmlformats.org/officeDocument/2006/relationships/slideLayout" Target="../slideLayouts/slideLayout35.xml"/><Relationship Id="rId7" Type="http://schemas.openxmlformats.org/officeDocument/2006/relationships/slideLayout" Target="../slideLayouts/slideLayout21.xml"/><Relationship Id="rId12" Type="http://schemas.openxmlformats.org/officeDocument/2006/relationships/slideLayout" Target="../slideLayouts/slideLayout26.xml"/><Relationship Id="rId17" Type="http://schemas.openxmlformats.org/officeDocument/2006/relationships/slideLayout" Target="../slideLayouts/slideLayout31.xml"/><Relationship Id="rId2" Type="http://schemas.openxmlformats.org/officeDocument/2006/relationships/slideLayout" Target="../slideLayouts/slideLayout16.xml"/><Relationship Id="rId16" Type="http://schemas.openxmlformats.org/officeDocument/2006/relationships/slideLayout" Target="../slideLayouts/slideLayout30.xml"/><Relationship Id="rId20" Type="http://schemas.openxmlformats.org/officeDocument/2006/relationships/slideLayout" Target="../slideLayouts/slideLayout34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slideLayout" Target="../slideLayouts/slideLayout25.xml"/><Relationship Id="rId24" Type="http://schemas.openxmlformats.org/officeDocument/2006/relationships/image" Target="../media/image10.png"/><Relationship Id="rId5" Type="http://schemas.openxmlformats.org/officeDocument/2006/relationships/slideLayout" Target="../slideLayouts/slideLayout19.xml"/><Relationship Id="rId15" Type="http://schemas.openxmlformats.org/officeDocument/2006/relationships/slideLayout" Target="../slideLayouts/slideLayout29.xml"/><Relationship Id="rId23" Type="http://schemas.openxmlformats.org/officeDocument/2006/relationships/image" Target="../media/image9.png"/><Relationship Id="rId10" Type="http://schemas.openxmlformats.org/officeDocument/2006/relationships/slideLayout" Target="../slideLayouts/slideLayout24.xml"/><Relationship Id="rId19" Type="http://schemas.openxmlformats.org/officeDocument/2006/relationships/slideLayout" Target="../slideLayouts/slideLayout33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slideLayout" Target="../slideLayouts/slideLayout28.xml"/><Relationship Id="rId22" Type="http://schemas.openxmlformats.org/officeDocument/2006/relationships/theme" Target="../theme/theme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theme" Target="../theme/theme3.xml"/><Relationship Id="rId3" Type="http://schemas.openxmlformats.org/officeDocument/2006/relationships/slideLayout" Target="../slideLayouts/slideLayout38.xml"/><Relationship Id="rId7" Type="http://schemas.openxmlformats.org/officeDocument/2006/relationships/slideLayout" Target="../slideLayouts/slideLayout42.xml"/><Relationship Id="rId2" Type="http://schemas.openxmlformats.org/officeDocument/2006/relationships/slideLayout" Target="../slideLayouts/slideLayout37.xml"/><Relationship Id="rId1" Type="http://schemas.openxmlformats.org/officeDocument/2006/relationships/slideLayout" Target="../slideLayouts/slideLayout36.xml"/><Relationship Id="rId6" Type="http://schemas.openxmlformats.org/officeDocument/2006/relationships/slideLayout" Target="../slideLayouts/slideLayout41.xml"/><Relationship Id="rId5" Type="http://schemas.openxmlformats.org/officeDocument/2006/relationships/slideLayout" Target="../slideLayouts/slideLayout40.xml"/><Relationship Id="rId4" Type="http://schemas.openxmlformats.org/officeDocument/2006/relationships/slideLayout" Target="../slideLayouts/slideLayout3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1"/>
            <a:ext cx="11253216" cy="4191609"/>
          </a:xfrm>
          <a:prstGeom prst="rect">
            <a:avLst/>
          </a:prstGeom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A1A13AA6-741E-4583-9AD2-04A7CA66368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84136081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" name="think-cell Slide" r:id="rId18" imgW="270" imgH="270" progId="TCLayout.ActiveDocument.1">
                  <p:embed/>
                </p:oleObj>
              </mc:Choice>
              <mc:Fallback>
                <p:oleObj name="think-cell Slide" r:id="rId18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A1A13AA6-741E-4583-9AD2-04A7CA66368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2491116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</p:sldLayoutIdLst>
  <p:txStyles>
    <p:titleStyle>
      <a:lvl1pPr algn="ctr" defTabSz="1219170" rtl="0" eaLnBrk="1" latinLnBrk="0" hangingPunct="1">
        <a:lnSpc>
          <a:spcPts val="3733"/>
        </a:lnSpc>
        <a:spcBef>
          <a:spcPct val="0"/>
        </a:spcBef>
        <a:buNone/>
        <a:defRPr sz="4267" kern="1200" spc="-67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3467" kern="1200" spc="-40">
          <a:solidFill>
            <a:srgbClr val="515151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2667" kern="1200" spc="-40">
          <a:solidFill>
            <a:srgbClr val="515151"/>
          </a:solidFill>
          <a:latin typeface="+mn-lt"/>
          <a:ea typeface="+mn-ea"/>
          <a:cs typeface="+mn-cs"/>
        </a:defRPr>
      </a:lvl2pPr>
      <a:lvl3pPr marL="97533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90000"/>
        <a:buFont typeface="Arial" pitchFamily="34" charset="0"/>
        <a:buChar char="•"/>
        <a:defRPr sz="2400" kern="1200" spc="-40">
          <a:solidFill>
            <a:srgbClr val="515151"/>
          </a:solidFill>
          <a:latin typeface="+mn-lt"/>
          <a:ea typeface="+mn-ea"/>
          <a:cs typeface="+mn-cs"/>
        </a:defRPr>
      </a:lvl3pPr>
      <a:lvl4pPr marL="134108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Font typeface="Arial" pitchFamily="34" charset="0"/>
        <a:buChar char="•"/>
        <a:defRPr sz="2133" kern="1200" spc="-40">
          <a:solidFill>
            <a:srgbClr val="515151"/>
          </a:solidFill>
          <a:latin typeface="+mn-lt"/>
          <a:ea typeface="+mn-ea"/>
          <a:cs typeface="+mn-cs"/>
        </a:defRPr>
      </a:lvl4pPr>
      <a:lvl5pPr marL="1584920" indent="-182875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100000"/>
        <a:buFont typeface="Arial" pitchFamily="34" charset="0"/>
        <a:buChar char="•"/>
        <a:defRPr sz="1867" kern="1200" spc="-40" baseline="0">
          <a:solidFill>
            <a:srgbClr val="515151"/>
          </a:solidFill>
          <a:latin typeface="+mn-lt"/>
          <a:ea typeface="+mn-ea"/>
          <a:cs typeface="+mn-cs"/>
        </a:defRPr>
      </a:lvl5pPr>
      <a:lvl6pPr marL="1828754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072588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2316422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2560256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12">
            <a:extLst>
              <a:ext uri="{FF2B5EF4-FFF2-40B4-BE49-F238E27FC236}">
                <a16:creationId xmlns:a16="http://schemas.microsoft.com/office/drawing/2014/main" id="{90FF277A-0C97-5240-B43E-EFBC2BFAF25E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1" t="4955" r="234" b="4955"/>
          <a:stretch/>
        </p:blipFill>
        <p:spPr>
          <a:xfrm>
            <a:off x="0" y="0"/>
            <a:ext cx="12192000" cy="5958679"/>
          </a:xfrm>
          <a:prstGeom prst="rect">
            <a:avLst/>
          </a:prstGeom>
          <a:effectLst/>
        </p:spPr>
      </p:pic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B069F698-987B-294B-BC86-D622892F06B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87665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BD721FA3-AE00-8F48-BD43-69EE19D95E24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94CC4BCD-764F-5A43-A742-F260267854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24384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473C5B45-42CD-AE4D-9B5A-BFF843F8F60C}" type="datetimeFigureOut">
              <a:rPr lang="en-US" smtClean="0"/>
              <a:t>4/14/2021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24E0624-15DF-D949-8644-E38BCF1E880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5396345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40930C7-85C6-0C4F-8645-566B2EFA4F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9725890" y="6356350"/>
            <a:ext cx="162790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E8AD3F3-8794-F44C-A88B-818FFE42BCE1}" type="slidenum">
              <a:rPr lang="en-US" smtClean="0"/>
              <a:t>‹#›</a:t>
            </a:fld>
            <a:endParaRPr lang="en-US"/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34FDF618-D198-3E4D-9D65-78517EDD9213}"/>
              </a:ext>
            </a:extLst>
          </p:cNvPr>
          <p:cNvSpPr txBox="1"/>
          <p:nvPr userDrawn="1"/>
        </p:nvSpPr>
        <p:spPr>
          <a:xfrm>
            <a:off x="8962626" y="6415801"/>
            <a:ext cx="2878974" cy="21544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algn="r"/>
            <a:r>
              <a:rPr lang="en-US" sz="800" b="0" i="0">
                <a:solidFill>
                  <a:schemeClr val="accent6">
                    <a:lumMod val="40000"/>
                    <a:lumOff val="60000"/>
                  </a:schemeClr>
                </a:solidFill>
                <a:latin typeface="+mn-lt"/>
                <a:ea typeface="Calibri Light" charset="0"/>
                <a:cs typeface="Calibri Light" charset="0"/>
              </a:rPr>
              <a:t>© 2019 </a:t>
            </a:r>
            <a:r>
              <a:rPr lang="en-CA" sz="800" b="0" i="0" kern="1200" err="1">
                <a:solidFill>
                  <a:schemeClr val="accent6">
                    <a:lumMod val="40000"/>
                    <a:lumOff val="60000"/>
                  </a:schemeClr>
                </a:solidFill>
                <a:effectLst/>
                <a:latin typeface="+mn-lt"/>
                <a:ea typeface="+mn-ea"/>
                <a:cs typeface="+mn-cs"/>
              </a:rPr>
              <a:t>Tasktop</a:t>
            </a:r>
            <a:endParaRPr lang="en-US" sz="800" b="0" i="0">
              <a:solidFill>
                <a:schemeClr val="accent6">
                  <a:lumMod val="40000"/>
                  <a:lumOff val="60000"/>
                </a:schemeClr>
              </a:solidFill>
              <a:latin typeface="+mn-lt"/>
              <a:ea typeface="Calibri Light" charset="0"/>
              <a:cs typeface="Calibri Light" charset="0"/>
            </a:endParaRPr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DD54089C-E1A5-5444-B513-F4DD9424E9A5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0400" y="5958682"/>
            <a:ext cx="1798634" cy="89931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81827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  <p:sldLayoutId id="2147483688" r:id="rId13"/>
    <p:sldLayoutId id="2147483689" r:id="rId14"/>
    <p:sldLayoutId id="2147483690" r:id="rId15"/>
    <p:sldLayoutId id="2147483691" r:id="rId16"/>
    <p:sldLayoutId id="2147483692" r:id="rId17"/>
    <p:sldLayoutId id="2147483693" r:id="rId18"/>
    <p:sldLayoutId id="2147483694" r:id="rId19"/>
    <p:sldLayoutId id="2147483695" r:id="rId20"/>
    <p:sldLayoutId id="2147483696" r:id="rId21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spcAft>
          <a:spcPts val="600"/>
        </a:spcAft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1pPr>
      <a:lvl2pPr marL="800100" indent="-3429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Clr>
          <a:schemeClr val="accent6"/>
        </a:buClr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1104" y="384048"/>
            <a:ext cx="11253216" cy="724205"/>
          </a:xfrm>
          <a:prstGeom prst="rect">
            <a:avLst/>
          </a:prstGeom>
        </p:spPr>
        <p:txBody>
          <a:bodyPr vert="horz" lIns="91440" tIns="91440" rIns="91440" bIns="91440" rtlCol="0" anchor="t" anchorCtr="0">
            <a:no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1104" y="1341121"/>
            <a:ext cx="11253216" cy="4191609"/>
          </a:xfrm>
          <a:prstGeom prst="rect">
            <a:avLst/>
          </a:prstGeom>
        </p:spPr>
        <p:txBody>
          <a:bodyPr vert="horz" lIns="91440" tIns="91440" rIns="91440" bIns="9144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99129489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7" r:id="rId1"/>
    <p:sldLayoutId id="2147483708" r:id="rId2"/>
    <p:sldLayoutId id="2147483709" r:id="rId3"/>
    <p:sldLayoutId id="2147483710" r:id="rId4"/>
    <p:sldLayoutId id="2147483711" r:id="rId5"/>
    <p:sldLayoutId id="2147483712" r:id="rId6"/>
    <p:sldLayoutId id="2147483713" r:id="rId7"/>
  </p:sldLayoutIdLst>
  <p:hf hdr="0" dt="0"/>
  <p:txStyles>
    <p:titleStyle>
      <a:lvl1pPr algn="ctr" defTabSz="1219170" rtl="0" eaLnBrk="1" latinLnBrk="0" hangingPunct="1">
        <a:lnSpc>
          <a:spcPts val="3733"/>
        </a:lnSpc>
        <a:spcBef>
          <a:spcPct val="0"/>
        </a:spcBef>
        <a:buNone/>
        <a:defRPr sz="4267" kern="1200" spc="-67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43834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3467" kern="1200" spc="-40">
          <a:solidFill>
            <a:srgbClr val="241B2F"/>
          </a:solidFill>
          <a:latin typeface="+mn-lt"/>
          <a:ea typeface="+mn-ea"/>
          <a:cs typeface="+mn-cs"/>
        </a:defRPr>
      </a:lvl1pPr>
      <a:lvl2pPr marL="609585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85000"/>
        <a:buFont typeface="Arial" pitchFamily="34" charset="0"/>
        <a:buChar char="•"/>
        <a:defRPr sz="2667" kern="1200" spc="-40">
          <a:solidFill>
            <a:srgbClr val="241B2F"/>
          </a:solidFill>
          <a:latin typeface="+mn-lt"/>
          <a:ea typeface="+mn-ea"/>
          <a:cs typeface="+mn-cs"/>
        </a:defRPr>
      </a:lvl2pPr>
      <a:lvl3pPr marL="97533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90000"/>
        <a:buFont typeface="Arial" pitchFamily="34" charset="0"/>
        <a:buChar char="•"/>
        <a:defRPr sz="2400" kern="1200" spc="-40">
          <a:solidFill>
            <a:srgbClr val="241B2F"/>
          </a:solidFill>
          <a:latin typeface="+mn-lt"/>
          <a:ea typeface="+mn-ea"/>
          <a:cs typeface="+mn-cs"/>
        </a:defRPr>
      </a:lvl3pPr>
      <a:lvl4pPr marL="1341086" indent="-243834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Font typeface="Arial" pitchFamily="34" charset="0"/>
        <a:buChar char="•"/>
        <a:defRPr sz="2133" kern="1200" spc="-40">
          <a:solidFill>
            <a:srgbClr val="241B2F"/>
          </a:solidFill>
          <a:latin typeface="+mn-lt"/>
          <a:ea typeface="+mn-ea"/>
          <a:cs typeface="+mn-cs"/>
        </a:defRPr>
      </a:lvl4pPr>
      <a:lvl5pPr marL="1584920" indent="-182875" algn="l" defTabSz="1219170" rtl="0" eaLnBrk="1" latinLnBrk="0" hangingPunct="1">
        <a:lnSpc>
          <a:spcPct val="100000"/>
        </a:lnSpc>
        <a:spcBef>
          <a:spcPts val="800"/>
        </a:spcBef>
        <a:spcAft>
          <a:spcPts val="0"/>
        </a:spcAft>
        <a:buClr>
          <a:schemeClr val="tx1">
            <a:lumMod val="75000"/>
          </a:schemeClr>
        </a:buClr>
        <a:buSzPct val="100000"/>
        <a:buFont typeface="Arial" pitchFamily="34" charset="0"/>
        <a:buChar char="•"/>
        <a:defRPr sz="1867" kern="1200" spc="-40" baseline="0">
          <a:solidFill>
            <a:srgbClr val="241B2F"/>
          </a:solidFill>
          <a:latin typeface="+mn-lt"/>
          <a:ea typeface="+mn-ea"/>
          <a:cs typeface="+mn-cs"/>
        </a:defRPr>
      </a:lvl5pPr>
      <a:lvl6pPr marL="1828754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6pPr>
      <a:lvl7pPr marL="2072588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7pPr>
      <a:lvl8pPr marL="2316422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8pPr>
      <a:lvl9pPr marL="2560256" indent="-243834" algn="l" defTabSz="1219170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733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09585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219170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82875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4pPr>
      <a:lvl5pPr marL="243833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5pPr>
      <a:lvl6pPr marL="3047924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657509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267093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876678" algn="l" defTabSz="1219170" rtl="0" eaLnBrk="1" latinLnBrk="0" hangingPunct="1"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>
            <a:extLst>
              <a:ext uri="{FF2B5EF4-FFF2-40B4-BE49-F238E27FC236}">
                <a16:creationId xmlns:a16="http://schemas.microsoft.com/office/drawing/2014/main" id="{17B24AB2-215A-4F09-8326-CB4A495BD61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69392" y="72776"/>
            <a:ext cx="11253216" cy="699516"/>
          </a:xfrm>
        </p:spPr>
        <p:txBody>
          <a:bodyPr/>
          <a:lstStyle/>
          <a:p>
            <a:r>
              <a:rPr lang="en-GB" sz="2800" dirty="0"/>
              <a:t>Strategic Funding</a:t>
            </a:r>
            <a:endParaRPr lang="en-US" sz="2800" dirty="0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17C9800B-1C63-452C-9E3E-CBA7565536F3}"/>
              </a:ext>
            </a:extLst>
          </p:cNvPr>
          <p:cNvSpPr/>
          <p:nvPr/>
        </p:nvSpPr>
        <p:spPr>
          <a:xfrm>
            <a:off x="2290284" y="1959669"/>
            <a:ext cx="3204994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8E7BC08-F770-458B-ACE4-D15BE1D418D8}"/>
              </a:ext>
            </a:extLst>
          </p:cNvPr>
          <p:cNvSpPr/>
          <p:nvPr/>
        </p:nvSpPr>
        <p:spPr>
          <a:xfrm>
            <a:off x="5599159" y="1959669"/>
            <a:ext cx="3189734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3F3C7C38-0492-4FFD-B04C-BCA840B6D516}"/>
              </a:ext>
            </a:extLst>
          </p:cNvPr>
          <p:cNvSpPr/>
          <p:nvPr/>
        </p:nvSpPr>
        <p:spPr>
          <a:xfrm>
            <a:off x="8892774" y="1959669"/>
            <a:ext cx="2017882" cy="1576191"/>
          </a:xfrm>
          <a:prstGeom prst="rect">
            <a:avLst/>
          </a:prstGeom>
          <a:solidFill>
            <a:srgbClr val="12D6E0">
              <a:alpha val="25000"/>
            </a:srgbClr>
          </a:solidFill>
          <a:ln w="12700">
            <a:solidFill>
              <a:schemeClr val="accent1"/>
            </a:solidFill>
            <a:prstDash val="lgDash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44" name="Rectangle 13">
            <a:extLst>
              <a:ext uri="{FF2B5EF4-FFF2-40B4-BE49-F238E27FC236}">
                <a16:creationId xmlns:a16="http://schemas.microsoft.com/office/drawing/2014/main" id="{AE28CB67-9C52-45D2-83CF-0F28D0F77A85}"/>
              </a:ext>
            </a:extLst>
          </p:cNvPr>
          <p:cNvSpPr/>
          <p:nvPr/>
        </p:nvSpPr>
        <p:spPr>
          <a:xfrm>
            <a:off x="2499486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fine organizational strategic goals or funding structure</a:t>
            </a:r>
          </a:p>
        </p:txBody>
      </p:sp>
      <p:sp>
        <p:nvSpPr>
          <p:cNvPr id="67" name="Rectangle 13">
            <a:extLst>
              <a:ext uri="{FF2B5EF4-FFF2-40B4-BE49-F238E27FC236}">
                <a16:creationId xmlns:a16="http://schemas.microsoft.com/office/drawing/2014/main" id="{41C4FE70-8D23-487A-84DF-FA28B996F77C}"/>
              </a:ext>
            </a:extLst>
          </p:cNvPr>
          <p:cNvSpPr/>
          <p:nvPr/>
        </p:nvSpPr>
        <p:spPr>
          <a:xfrm>
            <a:off x="4102721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strategies</a:t>
            </a:r>
          </a:p>
        </p:txBody>
      </p:sp>
      <p:sp>
        <p:nvSpPr>
          <p:cNvPr id="68" name="Rectangle 67">
            <a:extLst>
              <a:ext uri="{FF2B5EF4-FFF2-40B4-BE49-F238E27FC236}">
                <a16:creationId xmlns:a16="http://schemas.microsoft.com/office/drawing/2014/main" id="{2A8DCC53-BA51-4CDA-9EC5-ADD73BCC64E7}"/>
              </a:ext>
            </a:extLst>
          </p:cNvPr>
          <p:cNvSpPr/>
          <p:nvPr/>
        </p:nvSpPr>
        <p:spPr>
          <a:xfrm>
            <a:off x="5776978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 strategic initiatives</a:t>
            </a:r>
          </a:p>
        </p:txBody>
      </p:sp>
      <p:sp>
        <p:nvSpPr>
          <p:cNvPr id="69" name="Rectangle 68">
            <a:extLst>
              <a:ext uri="{FF2B5EF4-FFF2-40B4-BE49-F238E27FC236}">
                <a16:creationId xmlns:a16="http://schemas.microsoft.com/office/drawing/2014/main" id="{78C642B4-3550-44CD-B725-DC632DE4C48E}"/>
              </a:ext>
            </a:extLst>
          </p:cNvPr>
          <p:cNvSpPr/>
          <p:nvPr/>
        </p:nvSpPr>
        <p:spPr>
          <a:xfrm>
            <a:off x="7380213" y="264987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Describe and categorize initiatives</a:t>
            </a:r>
          </a:p>
        </p:txBody>
      </p:sp>
      <p:sp>
        <p:nvSpPr>
          <p:cNvPr id="70" name="Rectangle 69">
            <a:extLst>
              <a:ext uri="{FF2B5EF4-FFF2-40B4-BE49-F238E27FC236}">
                <a16:creationId xmlns:a16="http://schemas.microsoft.com/office/drawing/2014/main" id="{BC4B469B-023C-4ED7-95E3-B852A7629EA1}"/>
              </a:ext>
            </a:extLst>
          </p:cNvPr>
          <p:cNvSpPr/>
          <p:nvPr/>
        </p:nvSpPr>
        <p:spPr>
          <a:xfrm>
            <a:off x="3238315" y="2093560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Strategic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50D7BB61-DDDC-433A-8673-3DAAFC1AD7F3}"/>
              </a:ext>
            </a:extLst>
          </p:cNvPr>
          <p:cNvSpPr/>
          <p:nvPr/>
        </p:nvSpPr>
        <p:spPr>
          <a:xfrm>
            <a:off x="9273691" y="2652099"/>
            <a:ext cx="1256048" cy="672262"/>
          </a:xfrm>
          <a:prstGeom prst="rect">
            <a:avLst/>
          </a:prstGeom>
          <a:solidFill>
            <a:srgbClr val="21213D"/>
          </a:solidFill>
          <a:ln w="26425" cap="flat" cmpd="sng" algn="ctr">
            <a:solidFill>
              <a:schemeClr val="tx1">
                <a:lumMod val="90000"/>
                <a:lumOff val="10000"/>
              </a:schemeClr>
            </a:solidFill>
            <a:prstDash val="solid"/>
          </a:ln>
          <a:effectLst/>
        </p:spPr>
        <p:txBody>
          <a:bodyPr rot="0" spcFirstLastPara="0" vertOverflow="overflow" horzOverflow="overflow" vert="horz" wrap="square" lIns="51435" tIns="25718" rIns="51435" bIns="25718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 defTabSz="685749"/>
            <a:r>
              <a:rPr lang="en-GB" sz="1000" kern="0" dirty="0">
                <a:solidFill>
                  <a:srgbClr val="FFFFFF"/>
                </a:solidFill>
              </a:rPr>
              <a:t>Create/manage financial target and budgets</a:t>
            </a:r>
          </a:p>
        </p:txBody>
      </p:sp>
      <p:cxnSp>
        <p:nvCxnSpPr>
          <p:cNvPr id="72" name="Straight Arrow Connector 71">
            <a:extLst>
              <a:ext uri="{FF2B5EF4-FFF2-40B4-BE49-F238E27FC236}">
                <a16:creationId xmlns:a16="http://schemas.microsoft.com/office/drawing/2014/main" id="{29AA1633-3D3F-439E-98B1-2FF013AF6C22}"/>
              </a:ext>
            </a:extLst>
          </p:cNvPr>
          <p:cNvCxnSpPr>
            <a:cxnSpLocks/>
            <a:stCxn id="44" idx="3"/>
            <a:endCxn id="67" idx="1"/>
          </p:cNvCxnSpPr>
          <p:nvPr/>
        </p:nvCxnSpPr>
        <p:spPr>
          <a:xfrm>
            <a:off x="3755534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3" name="Straight Arrow Connector 72">
            <a:extLst>
              <a:ext uri="{FF2B5EF4-FFF2-40B4-BE49-F238E27FC236}">
                <a16:creationId xmlns:a16="http://schemas.microsoft.com/office/drawing/2014/main" id="{999FB998-6EDF-4C4C-9CE8-6CA797479E89}"/>
              </a:ext>
            </a:extLst>
          </p:cNvPr>
          <p:cNvCxnSpPr>
            <a:cxnSpLocks/>
            <a:stCxn id="67" idx="3"/>
            <a:endCxn id="68" idx="1"/>
          </p:cNvCxnSpPr>
          <p:nvPr/>
        </p:nvCxnSpPr>
        <p:spPr>
          <a:xfrm>
            <a:off x="5358769" y="2986010"/>
            <a:ext cx="418209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4" name="Straight Arrow Connector 73">
            <a:extLst>
              <a:ext uri="{FF2B5EF4-FFF2-40B4-BE49-F238E27FC236}">
                <a16:creationId xmlns:a16="http://schemas.microsoft.com/office/drawing/2014/main" id="{192C07D4-8280-42FA-90C1-83CBB8F4AD54}"/>
              </a:ext>
            </a:extLst>
          </p:cNvPr>
          <p:cNvCxnSpPr>
            <a:cxnSpLocks/>
            <a:stCxn id="68" idx="3"/>
            <a:endCxn id="69" idx="1"/>
          </p:cNvCxnSpPr>
          <p:nvPr/>
        </p:nvCxnSpPr>
        <p:spPr>
          <a:xfrm>
            <a:off x="7033026" y="2986010"/>
            <a:ext cx="347187" cy="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cxnSp>
        <p:nvCxnSpPr>
          <p:cNvPr id="75" name="Straight Arrow Connector 74">
            <a:extLst>
              <a:ext uri="{FF2B5EF4-FFF2-40B4-BE49-F238E27FC236}">
                <a16:creationId xmlns:a16="http://schemas.microsoft.com/office/drawing/2014/main" id="{EC0186D0-26DF-4F97-B26B-397BC6BA6E06}"/>
              </a:ext>
            </a:extLst>
          </p:cNvPr>
          <p:cNvCxnSpPr>
            <a:cxnSpLocks/>
            <a:stCxn id="69" idx="3"/>
            <a:endCxn id="71" idx="1"/>
          </p:cNvCxnSpPr>
          <p:nvPr/>
        </p:nvCxnSpPr>
        <p:spPr>
          <a:xfrm>
            <a:off x="8636261" y="2986010"/>
            <a:ext cx="637430" cy="2220"/>
          </a:xfrm>
          <a:prstGeom prst="straightConnector1">
            <a:avLst/>
          </a:prstGeom>
          <a:ln w="12700">
            <a:tailEnd type="triangle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sp>
        <p:nvSpPr>
          <p:cNvPr id="76" name="Rectangle 75">
            <a:extLst>
              <a:ext uri="{FF2B5EF4-FFF2-40B4-BE49-F238E27FC236}">
                <a16:creationId xmlns:a16="http://schemas.microsoft.com/office/drawing/2014/main" id="{B3FC4C14-7F90-4615-BDFE-FC455DC798D3}"/>
              </a:ext>
            </a:extLst>
          </p:cNvPr>
          <p:cNvSpPr/>
          <p:nvPr/>
        </p:nvSpPr>
        <p:spPr>
          <a:xfrm>
            <a:off x="6539560" y="2093560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Initiative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77" name="Rectangle 76">
            <a:extLst>
              <a:ext uri="{FF2B5EF4-FFF2-40B4-BE49-F238E27FC236}">
                <a16:creationId xmlns:a16="http://schemas.microsoft.com/office/drawing/2014/main" id="{4DD53843-871D-4EB7-8915-BB66CED53047}"/>
              </a:ext>
            </a:extLst>
          </p:cNvPr>
          <p:cNvSpPr/>
          <p:nvPr/>
        </p:nvSpPr>
        <p:spPr>
          <a:xfrm>
            <a:off x="9247249" y="2093560"/>
            <a:ext cx="1308932" cy="334295"/>
          </a:xfrm>
          <a:prstGeom prst="rect">
            <a:avLst/>
          </a:prstGeom>
          <a:solidFill>
            <a:schemeClr val="bg1">
              <a:lumMod val="85000"/>
            </a:schemeClr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Budgeting</a:t>
            </a:r>
            <a:endParaRPr lang="en-US" sz="1050" dirty="0">
              <a:solidFill>
                <a:schemeClr val="tx1"/>
              </a:solidFill>
            </a:endParaRPr>
          </a:p>
        </p:txBody>
      </p:sp>
      <p:sp>
        <p:nvSpPr>
          <p:cNvPr id="80" name="Rectangle 79">
            <a:extLst>
              <a:ext uri="{FF2B5EF4-FFF2-40B4-BE49-F238E27FC236}">
                <a16:creationId xmlns:a16="http://schemas.microsoft.com/office/drawing/2014/main" id="{DF868507-4981-41D1-A06D-9935753BAB89}"/>
              </a:ext>
            </a:extLst>
          </p:cNvPr>
          <p:cNvSpPr/>
          <p:nvPr/>
        </p:nvSpPr>
        <p:spPr>
          <a:xfrm>
            <a:off x="8993954" y="3926045"/>
            <a:ext cx="1815522" cy="475538"/>
          </a:xfrm>
          <a:prstGeom prst="rect">
            <a:avLst/>
          </a:prstGeom>
          <a:solidFill>
            <a:schemeClr val="bg1">
              <a:lumMod val="85000"/>
            </a:schemeClr>
          </a:solidFill>
          <a:ln w="19050">
            <a:solidFill>
              <a:schemeClr val="tx1">
                <a:lumMod val="90000"/>
                <a:lumOff val="10000"/>
              </a:schemeClr>
            </a:solidFill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50" dirty="0">
                <a:solidFill>
                  <a:schemeClr val="tx1"/>
                </a:solidFill>
              </a:rPr>
              <a:t>Role-based Capacity Planning</a:t>
            </a:r>
            <a:endParaRPr lang="en-US" sz="1050" dirty="0">
              <a:solidFill>
                <a:schemeClr val="tx1"/>
              </a:solidFill>
            </a:endParaRPr>
          </a:p>
        </p:txBody>
      </p:sp>
      <p:cxnSp>
        <p:nvCxnSpPr>
          <p:cNvPr id="4" name="Straight Arrow Connector 3">
            <a:extLst>
              <a:ext uri="{FF2B5EF4-FFF2-40B4-BE49-F238E27FC236}">
                <a16:creationId xmlns:a16="http://schemas.microsoft.com/office/drawing/2014/main" id="{CDF33572-6382-47B9-8B92-9745888614F0}"/>
              </a:ext>
            </a:extLst>
          </p:cNvPr>
          <p:cNvCxnSpPr>
            <a:stCxn id="71" idx="2"/>
            <a:endCxn id="80" idx="0"/>
          </p:cNvCxnSpPr>
          <p:nvPr/>
        </p:nvCxnSpPr>
        <p:spPr>
          <a:xfrm>
            <a:off x="9901715" y="3324361"/>
            <a:ext cx="0" cy="601684"/>
          </a:xfrm>
          <a:prstGeom prst="straightConnector1">
            <a:avLst/>
          </a:prstGeom>
          <a:ln w="19050">
            <a:prstDash val="sysDot"/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8553385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jpeg"/></Relationships>
</file>

<file path=ppt/theme/theme1.xml><?xml version="1.0" encoding="utf-8"?>
<a:theme xmlns:a="http://schemas.openxmlformats.org/drawingml/2006/main" name="Planview 2019">
  <a:themeElements>
    <a:clrScheme name="Planview 2019-10">
      <a:dk1>
        <a:srgbClr val="1A1B2F"/>
      </a:dk1>
      <a:lt1>
        <a:srgbClr val="FFFFFF"/>
      </a:lt1>
      <a:dk2>
        <a:srgbClr val="1A1B2F"/>
      </a:dk2>
      <a:lt2>
        <a:srgbClr val="AA182C"/>
      </a:lt2>
      <a:accent1>
        <a:srgbClr val="484959"/>
      </a:accent1>
      <a:accent2>
        <a:srgbClr val="AA182C"/>
      </a:accent2>
      <a:accent3>
        <a:srgbClr val="4297FC"/>
      </a:accent3>
      <a:accent4>
        <a:srgbClr val="BC5CE4"/>
      </a:accent4>
      <a:accent5>
        <a:srgbClr val="3ABB81"/>
      </a:accent5>
      <a:accent6>
        <a:srgbClr val="FFBA69"/>
      </a:accent6>
      <a:hlink>
        <a:srgbClr val="513CFF"/>
      </a:hlink>
      <a:folHlink>
        <a:srgbClr val="680B18"/>
      </a:folHlink>
    </a:clrScheme>
    <a:fontScheme name="Planview 2016">
      <a:majorFont>
        <a:latin typeface="Avenir LT Std 65 Medium"/>
        <a:ea typeface=""/>
        <a:cs typeface=""/>
      </a:majorFont>
      <a:minorFont>
        <a:latin typeface="Avenir LT Std 35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view 2019" id="{541510D6-F150-4536-B8AD-CA2D550C94D9}" vid="{5DD08683-1BF1-4743-84B0-04223F4BDB7F}"/>
    </a:ext>
  </a:extLst>
</a:theme>
</file>

<file path=ppt/theme/theme2.xml><?xml version="1.0" encoding="utf-8"?>
<a:theme xmlns:a="http://schemas.openxmlformats.org/drawingml/2006/main" name="10_Office Theme">
  <a:themeElements>
    <a:clrScheme name="Tasktop Colours">
      <a:dk1>
        <a:srgbClr val="090909"/>
      </a:dk1>
      <a:lt1>
        <a:srgbClr val="FFFFFF"/>
      </a:lt1>
      <a:dk2>
        <a:srgbClr val="4C4C4B"/>
      </a:dk2>
      <a:lt2>
        <a:srgbClr val="E3E4E2"/>
      </a:lt2>
      <a:accent1>
        <a:srgbClr val="79B642"/>
      </a:accent1>
      <a:accent2>
        <a:srgbClr val="DCE043"/>
      </a:accent2>
      <a:accent3>
        <a:srgbClr val="1C8FAB"/>
      </a:accent3>
      <a:accent4>
        <a:srgbClr val="CF522D"/>
      </a:accent4>
      <a:accent5>
        <a:srgbClr val="9E75A1"/>
      </a:accent5>
      <a:accent6>
        <a:srgbClr val="E3E4E3"/>
      </a:accent6>
      <a:hlink>
        <a:srgbClr val="79B642"/>
      </a:hlink>
      <a:folHlink>
        <a:srgbClr val="79B642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T confrence template" id="{BB5D002C-3A18-0C45-82CF-6EE18E411FF8}" vid="{880A119D-7B89-FC4D-83E7-818413C3C857}"/>
    </a:ext>
  </a:extLst>
</a:theme>
</file>

<file path=ppt/theme/theme3.xml><?xml version="1.0" encoding="utf-8"?>
<a:theme xmlns:a="http://schemas.openxmlformats.org/drawingml/2006/main" name="2_Planview 2020-01">
  <a:themeElements>
    <a:clrScheme name="Planview 2019-10">
      <a:dk1>
        <a:srgbClr val="1A1B2F"/>
      </a:dk1>
      <a:lt1>
        <a:srgbClr val="FFFFFF"/>
      </a:lt1>
      <a:dk2>
        <a:srgbClr val="1A1B2F"/>
      </a:dk2>
      <a:lt2>
        <a:srgbClr val="AA182C"/>
      </a:lt2>
      <a:accent1>
        <a:srgbClr val="484959"/>
      </a:accent1>
      <a:accent2>
        <a:srgbClr val="AA182C"/>
      </a:accent2>
      <a:accent3>
        <a:srgbClr val="4297FC"/>
      </a:accent3>
      <a:accent4>
        <a:srgbClr val="BC5CE4"/>
      </a:accent4>
      <a:accent5>
        <a:srgbClr val="3ABB81"/>
      </a:accent5>
      <a:accent6>
        <a:srgbClr val="FFBA69"/>
      </a:accent6>
      <a:hlink>
        <a:srgbClr val="513CFF"/>
      </a:hlink>
      <a:folHlink>
        <a:srgbClr val="680B18"/>
      </a:folHlink>
    </a:clrScheme>
    <a:fontScheme name="Planview 2016">
      <a:majorFont>
        <a:latin typeface="Avenir LT Std 65 Medium"/>
        <a:ea typeface=""/>
        <a:cs typeface=""/>
      </a:majorFont>
      <a:minorFont>
        <a:latin typeface="Avenir LT Std 35 Light"/>
        <a:ea typeface=""/>
        <a:cs typeface="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lanview 2019-10" id="{B5B310B0-E821-4432-9023-45BF7FEFE50E}" vid="{CC7F518E-2B06-44E1-BF71-2F1895380FE5}"/>
    </a:ext>
  </a:extLst>
</a:theme>
</file>

<file path=ppt/theme/theme4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C86CC185AB94374A99E1EAC828D8B7D7" ma:contentTypeVersion="11" ma:contentTypeDescription="Create a new document." ma:contentTypeScope="" ma:versionID="14567983018d7344c3a12390a68a42f8">
  <xsd:schema xmlns:xsd="http://www.w3.org/2001/XMLSchema" xmlns:xs="http://www.w3.org/2001/XMLSchema" xmlns:p="http://schemas.microsoft.com/office/2006/metadata/properties" xmlns:ns2="97aceb77-4712-4cad-8939-d5b7ad73fb61" xmlns:ns3="373a126e-4d95-4c48-85ab-bdd3d91789fe" targetNamespace="http://schemas.microsoft.com/office/2006/metadata/properties" ma:root="true" ma:fieldsID="f9254b2bc7b314e9d128513a3a380d97" ns2:_="" ns3:_="">
    <xsd:import namespace="97aceb77-4712-4cad-8939-d5b7ad73fb61"/>
    <xsd:import namespace="373a126e-4d95-4c48-85ab-bdd3d91789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AutoKeyPoints" minOccurs="0"/>
                <xsd:element ref="ns2:MediaServiceKeyPoint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7aceb77-4712-4cad-8939-d5b7ad73fb6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AutoKeyPoints" ma:index="17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8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373a126e-4d95-4c48-85ab-bdd3d91789fe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EABE6592-28AE-4843-9784-9D4218E1170C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230CEEAD-1F97-4D35-A7DE-8BB2CB32AC6D}">
  <ds:schemaRefs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  <ds:schemaRef ds:uri="http://schemas.microsoft.com/office/infopath/2007/PartnerControls"/>
    <ds:schemaRef ds:uri="http://purl.org/dc/elements/1.1/"/>
    <ds:schemaRef ds:uri="http://purl.org/dc/terms/"/>
    <ds:schemaRef ds:uri="http://purl.org/dc/dcmitype/"/>
    <ds:schemaRef ds:uri="97aceb77-4712-4cad-8939-d5b7ad73fb61"/>
    <ds:schemaRef ds:uri="373a126e-4d95-4c48-85ab-bdd3d91789fe"/>
  </ds:schemaRefs>
</ds:datastoreItem>
</file>

<file path=customXml/itemProps3.xml><?xml version="1.0" encoding="utf-8"?>
<ds:datastoreItem xmlns:ds="http://schemas.openxmlformats.org/officeDocument/2006/customXml" ds:itemID="{FD7AB43F-04CC-4500-9588-28414F0A1025}">
  <ds:schemaRefs>
    <ds:schemaRef ds:uri="373a126e-4d95-4c48-85ab-bdd3d91789fe"/>
    <ds:schemaRef ds:uri="97aceb77-4712-4cad-8939-d5b7ad73fb61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2865</TotalTime>
  <Words>36</Words>
  <Application>Microsoft Office PowerPoint</Application>
  <PresentationFormat>Widescreen</PresentationFormat>
  <Paragraphs>11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Arial</vt:lpstr>
      <vt:lpstr>Avenir LT Std 35 Light</vt:lpstr>
      <vt:lpstr>Avenir LT Std 65 Medium</vt:lpstr>
      <vt:lpstr>Calibri</vt:lpstr>
      <vt:lpstr>Courier New</vt:lpstr>
      <vt:lpstr>Lato</vt:lpstr>
      <vt:lpstr>Wingdings</vt:lpstr>
      <vt:lpstr>Planview 2019</vt:lpstr>
      <vt:lpstr>10_Office Theme</vt:lpstr>
      <vt:lpstr>2_Planview 2020-01</vt:lpstr>
      <vt:lpstr>think-cell Slide</vt:lpstr>
      <vt:lpstr>Strategic Funding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eoffrey Cuddy</dc:creator>
  <cp:lastModifiedBy>Dipu Bhattacharya</cp:lastModifiedBy>
  <cp:revision>47</cp:revision>
  <dcterms:created xsi:type="dcterms:W3CDTF">2021-01-26T20:19:30Z</dcterms:created>
  <dcterms:modified xsi:type="dcterms:W3CDTF">2021-04-14T22:58:3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C86CC185AB94374A99E1EAC828D8B7D7</vt:lpwstr>
  </property>
</Properties>
</file>